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56" r:id="rId5"/>
    <p:sldId id="2147375589" r:id="rId6"/>
    <p:sldId id="4848" r:id="rId7"/>
    <p:sldId id="2147375597" r:id="rId8"/>
    <p:sldId id="2147375614" r:id="rId9"/>
    <p:sldId id="2147375600" r:id="rId10"/>
    <p:sldId id="2147375618" r:id="rId11"/>
    <p:sldId id="2147375615" r:id="rId12"/>
    <p:sldId id="2147375619" r:id="rId13"/>
    <p:sldId id="2147375616" r:id="rId14"/>
    <p:sldId id="2147375601" r:id="rId15"/>
    <p:sldId id="2147375617" r:id="rId16"/>
    <p:sldId id="163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BE9ADB-D887-4137-A531-B7405A96F67F}" v="11" dt="2024-09-16T18:49:45.0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arwal, Rashi SBOBNG-PTIV/LI" userId="fd7d9d23-41e3-4365-a353-79d16ae7ab6e" providerId="ADAL" clId="{3F5D1627-13BA-440E-A5EE-ADB6DEB90009}"/>
    <pc:docChg chg="undo custSel addSld delSld modSld sldOrd">
      <pc:chgData name="Agarwal, Rashi SBOBNG-PTIV/LI" userId="fd7d9d23-41e3-4365-a353-79d16ae7ab6e" providerId="ADAL" clId="{3F5D1627-13BA-440E-A5EE-ADB6DEB90009}" dt="2024-09-06T13:36:13.598" v="713" actId="20577"/>
      <pc:docMkLst>
        <pc:docMk/>
      </pc:docMkLst>
      <pc:sldChg chg="modSp mod">
        <pc:chgData name="Agarwal, Rashi SBOBNG-PTIV/LI" userId="fd7d9d23-41e3-4365-a353-79d16ae7ab6e" providerId="ADAL" clId="{3F5D1627-13BA-440E-A5EE-ADB6DEB90009}" dt="2024-09-06T13:36:13.598" v="713" actId="20577"/>
        <pc:sldMkLst>
          <pc:docMk/>
          <pc:sldMk cId="3267775274" sldId="256"/>
        </pc:sldMkLst>
        <pc:spChg chg="mod">
          <ac:chgData name="Agarwal, Rashi SBOBNG-PTIV/LI" userId="fd7d9d23-41e3-4365-a353-79d16ae7ab6e" providerId="ADAL" clId="{3F5D1627-13BA-440E-A5EE-ADB6DEB90009}" dt="2024-09-06T13:36:13.598" v="713" actId="20577"/>
          <ac:spMkLst>
            <pc:docMk/>
            <pc:sldMk cId="3267775274" sldId="256"/>
            <ac:spMk id="6" creationId="{0C37A4A8-A3C7-407F-B123-88E2E165C827}"/>
          </ac:spMkLst>
        </pc:spChg>
        <pc:spChg chg="mod">
          <ac:chgData name="Agarwal, Rashi SBOBNG-PTIV/LI" userId="fd7d9d23-41e3-4365-a353-79d16ae7ab6e" providerId="ADAL" clId="{3F5D1627-13BA-440E-A5EE-ADB6DEB90009}" dt="2024-09-06T12:34:06.897" v="6" actId="20577"/>
          <ac:spMkLst>
            <pc:docMk/>
            <pc:sldMk cId="3267775274" sldId="256"/>
            <ac:spMk id="13" creationId="{C48F8DD6-A1B3-8126-FAC3-218B712C7FFB}"/>
          </ac:spMkLst>
        </pc:spChg>
      </pc:sldChg>
      <pc:sldChg chg="addSp modSp mod">
        <pc:chgData name="Agarwal, Rashi SBOBNG-PTIV/LI" userId="fd7d9d23-41e3-4365-a353-79d16ae7ab6e" providerId="ADAL" clId="{3F5D1627-13BA-440E-A5EE-ADB6DEB90009}" dt="2024-09-06T12:49:01.785" v="124" actId="14100"/>
        <pc:sldMkLst>
          <pc:docMk/>
          <pc:sldMk cId="245881457" sldId="2147375597"/>
        </pc:sldMkLst>
        <pc:spChg chg="add">
          <ac:chgData name="Agarwal, Rashi SBOBNG-PTIV/LI" userId="fd7d9d23-41e3-4365-a353-79d16ae7ab6e" providerId="ADAL" clId="{3F5D1627-13BA-440E-A5EE-ADB6DEB90009}" dt="2024-09-06T12:44:29.718" v="44"/>
          <ac:spMkLst>
            <pc:docMk/>
            <pc:sldMk cId="245881457" sldId="2147375597"/>
            <ac:spMk id="2" creationId="{4AD9743C-7C63-7B63-F747-9D2C56FA7E87}"/>
          </ac:spMkLst>
        </pc:spChg>
        <pc:spChg chg="add">
          <ac:chgData name="Agarwal, Rashi SBOBNG-PTIV/LI" userId="fd7d9d23-41e3-4365-a353-79d16ae7ab6e" providerId="ADAL" clId="{3F5D1627-13BA-440E-A5EE-ADB6DEB90009}" dt="2024-09-06T12:44:48.704" v="93"/>
          <ac:spMkLst>
            <pc:docMk/>
            <pc:sldMk cId="245881457" sldId="2147375597"/>
            <ac:spMk id="5" creationId="{16660751-243A-6FC6-7313-3683A7B4B5AA}"/>
          </ac:spMkLst>
        </pc:spChg>
        <pc:spChg chg="mod">
          <ac:chgData name="Agarwal, Rashi SBOBNG-PTIV/LI" userId="fd7d9d23-41e3-4365-a353-79d16ae7ab6e" providerId="ADAL" clId="{3F5D1627-13BA-440E-A5EE-ADB6DEB90009}" dt="2024-09-06T12:47:22.701" v="121" actId="113"/>
          <ac:spMkLst>
            <pc:docMk/>
            <pc:sldMk cId="245881457" sldId="2147375597"/>
            <ac:spMk id="11" creationId="{DE9F1BE0-7910-FA1B-DCE8-56EFD1E4FC09}"/>
          </ac:spMkLst>
        </pc:spChg>
        <pc:picChg chg="add mod">
          <ac:chgData name="Agarwal, Rashi SBOBNG-PTIV/LI" userId="fd7d9d23-41e3-4365-a353-79d16ae7ab6e" providerId="ADAL" clId="{3F5D1627-13BA-440E-A5EE-ADB6DEB90009}" dt="2024-09-06T12:49:01.785" v="124" actId="14100"/>
          <ac:picMkLst>
            <pc:docMk/>
            <pc:sldMk cId="245881457" sldId="2147375597"/>
            <ac:picMk id="1028" creationId="{EC8D7644-E640-BF5E-C00D-E3F6A7BEA42F}"/>
          </ac:picMkLst>
        </pc:picChg>
      </pc:sldChg>
      <pc:sldChg chg="addSp modSp mod">
        <pc:chgData name="Agarwal, Rashi SBOBNG-PTIV/LI" userId="fd7d9d23-41e3-4365-a353-79d16ae7ab6e" providerId="ADAL" clId="{3F5D1627-13BA-440E-A5EE-ADB6DEB90009}" dt="2024-09-06T13:00:31.806" v="160" actId="14100"/>
        <pc:sldMkLst>
          <pc:docMk/>
          <pc:sldMk cId="1181112711" sldId="2147375600"/>
        </pc:sldMkLst>
        <pc:spChg chg="add">
          <ac:chgData name="Agarwal, Rashi SBOBNG-PTIV/LI" userId="fd7d9d23-41e3-4365-a353-79d16ae7ab6e" providerId="ADAL" clId="{3F5D1627-13BA-440E-A5EE-ADB6DEB90009}" dt="2024-09-06T12:50:57.104" v="141"/>
          <ac:spMkLst>
            <pc:docMk/>
            <pc:sldMk cId="1181112711" sldId="2147375600"/>
            <ac:spMk id="2" creationId="{AC0826BF-A72A-8429-ABE4-A4DECF1BB9FA}"/>
          </ac:spMkLst>
        </pc:spChg>
        <pc:spChg chg="mod">
          <ac:chgData name="Agarwal, Rashi SBOBNG-PTIV/LI" userId="fd7d9d23-41e3-4365-a353-79d16ae7ab6e" providerId="ADAL" clId="{3F5D1627-13BA-440E-A5EE-ADB6DEB90009}" dt="2024-09-06T13:00:23.329" v="158" actId="14100"/>
          <ac:spMkLst>
            <pc:docMk/>
            <pc:sldMk cId="1181112711" sldId="2147375600"/>
            <ac:spMk id="11" creationId="{DE9F1BE0-7910-FA1B-DCE8-56EFD1E4FC09}"/>
          </ac:spMkLst>
        </pc:spChg>
        <pc:picChg chg="add mod">
          <ac:chgData name="Agarwal, Rashi SBOBNG-PTIV/LI" userId="fd7d9d23-41e3-4365-a353-79d16ae7ab6e" providerId="ADAL" clId="{3F5D1627-13BA-440E-A5EE-ADB6DEB90009}" dt="2024-09-06T13:00:31.806" v="160" actId="14100"/>
          <ac:picMkLst>
            <pc:docMk/>
            <pc:sldMk cId="1181112711" sldId="2147375600"/>
            <ac:picMk id="2051" creationId="{4E9407AC-12F1-EA88-94B2-F3CFB4AE392B}"/>
          </ac:picMkLst>
        </pc:picChg>
      </pc:sldChg>
      <pc:sldChg chg="addSp delSp modSp mod">
        <pc:chgData name="Agarwal, Rashi SBOBNG-PTIV/LI" userId="fd7d9d23-41e3-4365-a353-79d16ae7ab6e" providerId="ADAL" clId="{3F5D1627-13BA-440E-A5EE-ADB6DEB90009}" dt="2024-09-06T13:06:03.383" v="216" actId="1076"/>
        <pc:sldMkLst>
          <pc:docMk/>
          <pc:sldMk cId="3233747587" sldId="2147375601"/>
        </pc:sldMkLst>
        <pc:spChg chg="add">
          <ac:chgData name="Agarwal, Rashi SBOBNG-PTIV/LI" userId="fd7d9d23-41e3-4365-a353-79d16ae7ab6e" providerId="ADAL" clId="{3F5D1627-13BA-440E-A5EE-ADB6DEB90009}" dt="2024-09-06T13:03:28.259" v="194"/>
          <ac:spMkLst>
            <pc:docMk/>
            <pc:sldMk cId="3233747587" sldId="2147375601"/>
            <ac:spMk id="2" creationId="{34864400-5369-F3B6-ABA7-F41554F2BF7C}"/>
          </ac:spMkLst>
        </pc:spChg>
        <pc:spChg chg="mod">
          <ac:chgData name="Agarwal, Rashi SBOBNG-PTIV/LI" userId="fd7d9d23-41e3-4365-a353-79d16ae7ab6e" providerId="ADAL" clId="{3F5D1627-13BA-440E-A5EE-ADB6DEB90009}" dt="2024-09-06T13:04:52.084" v="212" actId="14100"/>
          <ac:spMkLst>
            <pc:docMk/>
            <pc:sldMk cId="3233747587" sldId="2147375601"/>
            <ac:spMk id="11" creationId="{DE9F1BE0-7910-FA1B-DCE8-56EFD1E4FC09}"/>
          </ac:spMkLst>
        </pc:spChg>
        <pc:picChg chg="del mod">
          <ac:chgData name="Agarwal, Rashi SBOBNG-PTIV/LI" userId="fd7d9d23-41e3-4365-a353-79d16ae7ab6e" providerId="ADAL" clId="{3F5D1627-13BA-440E-A5EE-ADB6DEB90009}" dt="2024-09-06T13:04:55.393" v="213" actId="478"/>
          <ac:picMkLst>
            <pc:docMk/>
            <pc:sldMk cId="3233747587" sldId="2147375601"/>
            <ac:picMk id="1026" creationId="{E9C51008-9B43-72CD-CDCC-AFAFE72B6C31}"/>
          </ac:picMkLst>
        </pc:picChg>
        <pc:picChg chg="add mod">
          <ac:chgData name="Agarwal, Rashi SBOBNG-PTIV/LI" userId="fd7d9d23-41e3-4365-a353-79d16ae7ab6e" providerId="ADAL" clId="{3F5D1627-13BA-440E-A5EE-ADB6DEB90009}" dt="2024-09-06T13:06:03.383" v="216" actId="1076"/>
          <ac:picMkLst>
            <pc:docMk/>
            <pc:sldMk cId="3233747587" sldId="2147375601"/>
            <ac:picMk id="3075" creationId="{D76AD3C6-A675-9587-5790-F692EC53D4FE}"/>
          </ac:picMkLst>
        </pc:picChg>
      </pc:sldChg>
      <pc:sldChg chg="addSp delSp modSp mod">
        <pc:chgData name="Agarwal, Rashi SBOBNG-PTIV/LI" userId="fd7d9d23-41e3-4365-a353-79d16ae7ab6e" providerId="ADAL" clId="{3F5D1627-13BA-440E-A5EE-ADB6DEB90009}" dt="2024-09-06T13:11:20.023" v="255" actId="1076"/>
        <pc:sldMkLst>
          <pc:docMk/>
          <pc:sldMk cId="3971512377" sldId="2147375603"/>
        </pc:sldMkLst>
        <pc:spChg chg="add">
          <ac:chgData name="Agarwal, Rashi SBOBNG-PTIV/LI" userId="fd7d9d23-41e3-4365-a353-79d16ae7ab6e" providerId="ADAL" clId="{3F5D1627-13BA-440E-A5EE-ADB6DEB90009}" dt="2024-09-06T13:09:33.143" v="217"/>
          <ac:spMkLst>
            <pc:docMk/>
            <pc:sldMk cId="3971512377" sldId="2147375603"/>
            <ac:spMk id="2" creationId="{8C3A8FE5-FEAD-1334-E247-F7CB4FEB3DC7}"/>
          </ac:spMkLst>
        </pc:spChg>
        <pc:spChg chg="mod">
          <ac:chgData name="Agarwal, Rashi SBOBNG-PTIV/LI" userId="fd7d9d23-41e3-4365-a353-79d16ae7ab6e" providerId="ADAL" clId="{3F5D1627-13BA-440E-A5EE-ADB6DEB90009}" dt="2024-09-06T13:11:20.023" v="255" actId="1076"/>
          <ac:spMkLst>
            <pc:docMk/>
            <pc:sldMk cId="3971512377" sldId="2147375603"/>
            <ac:spMk id="11" creationId="{DE9F1BE0-7910-FA1B-DCE8-56EFD1E4FC09}"/>
          </ac:spMkLst>
        </pc:spChg>
        <pc:spChg chg="del mod">
          <ac:chgData name="Agarwal, Rashi SBOBNG-PTIV/LI" userId="fd7d9d23-41e3-4365-a353-79d16ae7ab6e" providerId="ADAL" clId="{3F5D1627-13BA-440E-A5EE-ADB6DEB90009}" dt="2024-09-06T13:11:13.736" v="254" actId="478"/>
          <ac:spMkLst>
            <pc:docMk/>
            <pc:sldMk cId="3971512377" sldId="2147375603"/>
            <ac:spMk id="12" creationId="{E53E5C3F-4D2B-B85F-E592-E58E032C664C}"/>
          </ac:spMkLst>
        </pc:spChg>
      </pc:sldChg>
      <pc:sldChg chg="addSp modSp mod">
        <pc:chgData name="Agarwal, Rashi SBOBNG-PTIV/LI" userId="fd7d9d23-41e3-4365-a353-79d16ae7ab6e" providerId="ADAL" clId="{3F5D1627-13BA-440E-A5EE-ADB6DEB90009}" dt="2024-09-06T13:34:17.793" v="711" actId="123"/>
        <pc:sldMkLst>
          <pc:docMk/>
          <pc:sldMk cId="3179805674" sldId="2147375604"/>
        </pc:sldMkLst>
        <pc:spChg chg="add">
          <ac:chgData name="Agarwal, Rashi SBOBNG-PTIV/LI" userId="fd7d9d23-41e3-4365-a353-79d16ae7ab6e" providerId="ADAL" clId="{3F5D1627-13BA-440E-A5EE-ADB6DEB90009}" dt="2024-09-06T13:11:50.752" v="259"/>
          <ac:spMkLst>
            <pc:docMk/>
            <pc:sldMk cId="3179805674" sldId="2147375604"/>
            <ac:spMk id="2" creationId="{58417BA0-D783-533D-C978-63BD0E65AACA}"/>
          </ac:spMkLst>
        </pc:spChg>
        <pc:spChg chg="mod">
          <ac:chgData name="Agarwal, Rashi SBOBNG-PTIV/LI" userId="fd7d9d23-41e3-4365-a353-79d16ae7ab6e" providerId="ADAL" clId="{3F5D1627-13BA-440E-A5EE-ADB6DEB90009}" dt="2024-09-06T13:34:17.793" v="711" actId="123"/>
          <ac:spMkLst>
            <pc:docMk/>
            <pc:sldMk cId="3179805674" sldId="2147375604"/>
            <ac:spMk id="11" creationId="{DE9F1BE0-7910-FA1B-DCE8-56EFD1E4FC09}"/>
          </ac:spMkLst>
        </pc:spChg>
      </pc:sldChg>
      <pc:sldChg chg="addSp modSp mod">
        <pc:chgData name="Agarwal, Rashi SBOBNG-PTIV/LI" userId="fd7d9d23-41e3-4365-a353-79d16ae7ab6e" providerId="ADAL" clId="{3F5D1627-13BA-440E-A5EE-ADB6DEB90009}" dt="2024-09-06T13:34:08.354" v="709" actId="123"/>
        <pc:sldMkLst>
          <pc:docMk/>
          <pc:sldMk cId="86366928" sldId="2147375605"/>
        </pc:sldMkLst>
        <pc:spChg chg="add">
          <ac:chgData name="Agarwal, Rashi SBOBNG-PTIV/LI" userId="fd7d9d23-41e3-4365-a353-79d16ae7ab6e" providerId="ADAL" clId="{3F5D1627-13BA-440E-A5EE-ADB6DEB90009}" dt="2024-09-06T13:14:46.803" v="285"/>
          <ac:spMkLst>
            <pc:docMk/>
            <pc:sldMk cId="86366928" sldId="2147375605"/>
            <ac:spMk id="2" creationId="{E9D7C515-761B-001B-DC97-F523039550D3}"/>
          </ac:spMkLst>
        </pc:spChg>
        <pc:spChg chg="mod">
          <ac:chgData name="Agarwal, Rashi SBOBNG-PTIV/LI" userId="fd7d9d23-41e3-4365-a353-79d16ae7ab6e" providerId="ADAL" clId="{3F5D1627-13BA-440E-A5EE-ADB6DEB90009}" dt="2024-09-06T13:34:08.354" v="709" actId="123"/>
          <ac:spMkLst>
            <pc:docMk/>
            <pc:sldMk cId="86366928" sldId="2147375605"/>
            <ac:spMk id="11" creationId="{DE9F1BE0-7910-FA1B-DCE8-56EFD1E4FC09}"/>
          </ac:spMkLst>
        </pc:spChg>
      </pc:sldChg>
      <pc:sldChg chg="add del">
        <pc:chgData name="Agarwal, Rashi SBOBNG-PTIV/LI" userId="fd7d9d23-41e3-4365-a353-79d16ae7ab6e" providerId="ADAL" clId="{3F5D1627-13BA-440E-A5EE-ADB6DEB90009}" dt="2024-09-06T13:28:57.633" v="291" actId="47"/>
        <pc:sldMkLst>
          <pc:docMk/>
          <pc:sldMk cId="2653617092" sldId="2147375606"/>
        </pc:sldMkLst>
      </pc:sldChg>
      <pc:sldChg chg="add ord">
        <pc:chgData name="Agarwal, Rashi SBOBNG-PTIV/LI" userId="fd7d9d23-41e3-4365-a353-79d16ae7ab6e" providerId="ADAL" clId="{3F5D1627-13BA-440E-A5EE-ADB6DEB90009}" dt="2024-09-06T13:29:37.010" v="294"/>
        <pc:sldMkLst>
          <pc:docMk/>
          <pc:sldMk cId="660662221" sldId="2147375612"/>
        </pc:sldMkLst>
      </pc:sldChg>
      <pc:sldChg chg="delSp modSp add mod ord">
        <pc:chgData name="Agarwal, Rashi SBOBNG-PTIV/LI" userId="fd7d9d23-41e3-4365-a353-79d16ae7ab6e" providerId="ADAL" clId="{3F5D1627-13BA-440E-A5EE-ADB6DEB90009}" dt="2024-09-06T13:34:01.275" v="708" actId="1076"/>
        <pc:sldMkLst>
          <pc:docMk/>
          <pc:sldMk cId="1148838763" sldId="2147375613"/>
        </pc:sldMkLst>
        <pc:spChg chg="mod">
          <ac:chgData name="Agarwal, Rashi SBOBNG-PTIV/LI" userId="fd7d9d23-41e3-4365-a353-79d16ae7ab6e" providerId="ADAL" clId="{3F5D1627-13BA-440E-A5EE-ADB6DEB90009}" dt="2024-09-06T13:34:01.275" v="708" actId="1076"/>
          <ac:spMkLst>
            <pc:docMk/>
            <pc:sldMk cId="1148838763" sldId="2147375613"/>
            <ac:spMk id="11" creationId="{8CC1343B-2E39-FEFF-8FF6-46822F18B432}"/>
          </ac:spMkLst>
        </pc:spChg>
        <pc:spChg chg="del">
          <ac:chgData name="Agarwal, Rashi SBOBNG-PTIV/LI" userId="fd7d9d23-41e3-4365-a353-79d16ae7ab6e" providerId="ADAL" clId="{3F5D1627-13BA-440E-A5EE-ADB6DEB90009}" dt="2024-09-06T13:33:58.954" v="707" actId="478"/>
          <ac:spMkLst>
            <pc:docMk/>
            <pc:sldMk cId="1148838763" sldId="2147375613"/>
            <ac:spMk id="12" creationId="{5A873A1A-E63F-91AE-7D43-ED0F86870147}"/>
          </ac:spMkLst>
        </pc:spChg>
      </pc:sldChg>
    </pc:docChg>
  </pc:docChgLst>
  <pc:docChgLst>
    <pc:chgData name="Agarwal, Rashi SBOBNG-PTIV/LI" userId="fd7d9d23-41e3-4365-a353-79d16ae7ab6e" providerId="ADAL" clId="{14BE9ADB-D887-4137-A531-B7405A96F67F}"/>
    <pc:docChg chg="custSel addSld delSld modSld sldOrd">
      <pc:chgData name="Agarwal, Rashi SBOBNG-PTIV/LI" userId="fd7d9d23-41e3-4365-a353-79d16ae7ab6e" providerId="ADAL" clId="{14BE9ADB-D887-4137-A531-B7405A96F67F}" dt="2024-09-16T18:59:00.432" v="483" actId="20577"/>
      <pc:docMkLst>
        <pc:docMk/>
      </pc:docMkLst>
      <pc:sldChg chg="modSp mod">
        <pc:chgData name="Agarwal, Rashi SBOBNG-PTIV/LI" userId="fd7d9d23-41e3-4365-a353-79d16ae7ab6e" providerId="ADAL" clId="{14BE9ADB-D887-4137-A531-B7405A96F67F}" dt="2024-09-16T18:59:00.432" v="483" actId="20577"/>
        <pc:sldMkLst>
          <pc:docMk/>
          <pc:sldMk cId="3267775274" sldId="256"/>
        </pc:sldMkLst>
        <pc:spChg chg="mod">
          <ac:chgData name="Agarwal, Rashi SBOBNG-PTIV/LI" userId="fd7d9d23-41e3-4365-a353-79d16ae7ab6e" providerId="ADAL" clId="{14BE9ADB-D887-4137-A531-B7405A96F67F}" dt="2024-09-16T18:58:37.049" v="480" actId="20577"/>
          <ac:spMkLst>
            <pc:docMk/>
            <pc:sldMk cId="3267775274" sldId="256"/>
            <ac:spMk id="6" creationId="{0C37A4A8-A3C7-407F-B123-88E2E165C827}"/>
          </ac:spMkLst>
        </pc:spChg>
        <pc:spChg chg="mod">
          <ac:chgData name="Agarwal, Rashi SBOBNG-PTIV/LI" userId="fd7d9d23-41e3-4365-a353-79d16ae7ab6e" providerId="ADAL" clId="{14BE9ADB-D887-4137-A531-B7405A96F67F}" dt="2024-09-16T18:59:00.432" v="483" actId="20577"/>
          <ac:spMkLst>
            <pc:docMk/>
            <pc:sldMk cId="3267775274" sldId="256"/>
            <ac:spMk id="13" creationId="{C48F8DD6-A1B3-8126-FAC3-218B712C7FFB}"/>
          </ac:spMkLst>
        </pc:spChg>
      </pc:sldChg>
      <pc:sldChg chg="modSp mod">
        <pc:chgData name="Agarwal, Rashi SBOBNG-PTIV/LI" userId="fd7d9d23-41e3-4365-a353-79d16ae7ab6e" providerId="ADAL" clId="{14BE9ADB-D887-4137-A531-B7405A96F67F}" dt="2024-09-16T18:50:15.286" v="209" actId="20577"/>
        <pc:sldMkLst>
          <pc:docMk/>
          <pc:sldMk cId="942789877" sldId="4848"/>
        </pc:sldMkLst>
        <pc:spChg chg="mod">
          <ac:chgData name="Agarwal, Rashi SBOBNG-PTIV/LI" userId="fd7d9d23-41e3-4365-a353-79d16ae7ab6e" providerId="ADAL" clId="{14BE9ADB-D887-4137-A531-B7405A96F67F}" dt="2024-09-16T18:50:15.286" v="209" actId="20577"/>
          <ac:spMkLst>
            <pc:docMk/>
            <pc:sldMk cId="942789877" sldId="4848"/>
            <ac:spMk id="3" creationId="{C02D07F7-B946-BB66-E6EA-DD92C38B1926}"/>
          </ac:spMkLst>
        </pc:spChg>
      </pc:sldChg>
      <pc:sldChg chg="delSp modSp mod">
        <pc:chgData name="Agarwal, Rashi SBOBNG-PTIV/LI" userId="fd7d9d23-41e3-4365-a353-79d16ae7ab6e" providerId="ADAL" clId="{14BE9ADB-D887-4137-A531-B7405A96F67F}" dt="2024-09-16T18:51:24.975" v="238" actId="123"/>
        <pc:sldMkLst>
          <pc:docMk/>
          <pc:sldMk cId="245881457" sldId="2147375597"/>
        </pc:sldMkLst>
        <pc:spChg chg="mod">
          <ac:chgData name="Agarwal, Rashi SBOBNG-PTIV/LI" userId="fd7d9d23-41e3-4365-a353-79d16ae7ab6e" providerId="ADAL" clId="{14BE9ADB-D887-4137-A531-B7405A96F67F}" dt="2024-09-16T18:51:24.975" v="238" actId="123"/>
          <ac:spMkLst>
            <pc:docMk/>
            <pc:sldMk cId="245881457" sldId="2147375597"/>
            <ac:spMk id="11" creationId="{DE9F1BE0-7910-FA1B-DCE8-56EFD1E4FC09}"/>
          </ac:spMkLst>
        </pc:spChg>
        <pc:picChg chg="del">
          <ac:chgData name="Agarwal, Rashi SBOBNG-PTIV/LI" userId="fd7d9d23-41e3-4365-a353-79d16ae7ab6e" providerId="ADAL" clId="{14BE9ADB-D887-4137-A531-B7405A96F67F}" dt="2024-09-16T18:36:55.805" v="22" actId="478"/>
          <ac:picMkLst>
            <pc:docMk/>
            <pc:sldMk cId="245881457" sldId="2147375597"/>
            <ac:picMk id="1028" creationId="{EC8D7644-E640-BF5E-C00D-E3F6A7BEA42F}"/>
          </ac:picMkLst>
        </pc:picChg>
      </pc:sldChg>
      <pc:sldChg chg="delSp modSp mod">
        <pc:chgData name="Agarwal, Rashi SBOBNG-PTIV/LI" userId="fd7d9d23-41e3-4365-a353-79d16ae7ab6e" providerId="ADAL" clId="{14BE9ADB-D887-4137-A531-B7405A96F67F}" dt="2024-09-16T18:58:16.209" v="478" actId="20577"/>
        <pc:sldMkLst>
          <pc:docMk/>
          <pc:sldMk cId="1181112711" sldId="2147375600"/>
        </pc:sldMkLst>
        <pc:spChg chg="mod">
          <ac:chgData name="Agarwal, Rashi SBOBNG-PTIV/LI" userId="fd7d9d23-41e3-4365-a353-79d16ae7ab6e" providerId="ADAL" clId="{14BE9ADB-D887-4137-A531-B7405A96F67F}" dt="2024-09-16T18:58:16.209" v="478" actId="20577"/>
          <ac:spMkLst>
            <pc:docMk/>
            <pc:sldMk cId="1181112711" sldId="2147375600"/>
            <ac:spMk id="11" creationId="{DE9F1BE0-7910-FA1B-DCE8-56EFD1E4FC09}"/>
          </ac:spMkLst>
        </pc:spChg>
        <pc:picChg chg="del">
          <ac:chgData name="Agarwal, Rashi SBOBNG-PTIV/LI" userId="fd7d9d23-41e3-4365-a353-79d16ae7ab6e" providerId="ADAL" clId="{14BE9ADB-D887-4137-A531-B7405A96F67F}" dt="2024-09-16T18:43:17.231" v="136" actId="478"/>
          <ac:picMkLst>
            <pc:docMk/>
            <pc:sldMk cId="1181112711" sldId="2147375600"/>
            <ac:picMk id="2051" creationId="{4E9407AC-12F1-EA88-94B2-F3CFB4AE392B}"/>
          </ac:picMkLst>
        </pc:picChg>
      </pc:sldChg>
      <pc:sldChg chg="delSp modSp mod">
        <pc:chgData name="Agarwal, Rashi SBOBNG-PTIV/LI" userId="fd7d9d23-41e3-4365-a353-79d16ae7ab6e" providerId="ADAL" clId="{14BE9ADB-D887-4137-A531-B7405A96F67F}" dt="2024-09-16T18:57:36.556" v="467" actId="20577"/>
        <pc:sldMkLst>
          <pc:docMk/>
          <pc:sldMk cId="3233747587" sldId="2147375601"/>
        </pc:sldMkLst>
        <pc:spChg chg="mod">
          <ac:chgData name="Agarwal, Rashi SBOBNG-PTIV/LI" userId="fd7d9d23-41e3-4365-a353-79d16ae7ab6e" providerId="ADAL" clId="{14BE9ADB-D887-4137-A531-B7405A96F67F}" dt="2024-09-16T18:57:36.556" v="467" actId="20577"/>
          <ac:spMkLst>
            <pc:docMk/>
            <pc:sldMk cId="3233747587" sldId="2147375601"/>
            <ac:spMk id="11" creationId="{DE9F1BE0-7910-FA1B-DCE8-56EFD1E4FC09}"/>
          </ac:spMkLst>
        </pc:spChg>
        <pc:picChg chg="del">
          <ac:chgData name="Agarwal, Rashi SBOBNG-PTIV/LI" userId="fd7d9d23-41e3-4365-a353-79d16ae7ab6e" providerId="ADAL" clId="{14BE9ADB-D887-4137-A531-B7405A96F67F}" dt="2024-09-16T18:47:41.330" v="171" actId="478"/>
          <ac:picMkLst>
            <pc:docMk/>
            <pc:sldMk cId="3233747587" sldId="2147375601"/>
            <ac:picMk id="3075" creationId="{D76AD3C6-A675-9587-5790-F692EC53D4FE}"/>
          </ac:picMkLst>
        </pc:picChg>
      </pc:sldChg>
      <pc:sldChg chg="del">
        <pc:chgData name="Agarwal, Rashi SBOBNG-PTIV/LI" userId="fd7d9d23-41e3-4365-a353-79d16ae7ab6e" providerId="ADAL" clId="{14BE9ADB-D887-4137-A531-B7405A96F67F}" dt="2024-09-16T18:48:09.982" v="174" actId="47"/>
        <pc:sldMkLst>
          <pc:docMk/>
          <pc:sldMk cId="832949157" sldId="2147375602"/>
        </pc:sldMkLst>
      </pc:sldChg>
      <pc:sldChg chg="del">
        <pc:chgData name="Agarwal, Rashi SBOBNG-PTIV/LI" userId="fd7d9d23-41e3-4365-a353-79d16ae7ab6e" providerId="ADAL" clId="{14BE9ADB-D887-4137-A531-B7405A96F67F}" dt="2024-09-16T18:48:12.303" v="175" actId="47"/>
        <pc:sldMkLst>
          <pc:docMk/>
          <pc:sldMk cId="3971512377" sldId="2147375603"/>
        </pc:sldMkLst>
      </pc:sldChg>
      <pc:sldChg chg="del">
        <pc:chgData name="Agarwal, Rashi SBOBNG-PTIV/LI" userId="fd7d9d23-41e3-4365-a353-79d16ae7ab6e" providerId="ADAL" clId="{14BE9ADB-D887-4137-A531-B7405A96F67F}" dt="2024-09-16T18:48:13.431" v="176" actId="47"/>
        <pc:sldMkLst>
          <pc:docMk/>
          <pc:sldMk cId="3179805674" sldId="2147375604"/>
        </pc:sldMkLst>
      </pc:sldChg>
      <pc:sldChg chg="del">
        <pc:chgData name="Agarwal, Rashi SBOBNG-PTIV/LI" userId="fd7d9d23-41e3-4365-a353-79d16ae7ab6e" providerId="ADAL" clId="{14BE9ADB-D887-4137-A531-B7405A96F67F}" dt="2024-09-16T18:48:13.913" v="177" actId="47"/>
        <pc:sldMkLst>
          <pc:docMk/>
          <pc:sldMk cId="86366928" sldId="2147375605"/>
        </pc:sldMkLst>
      </pc:sldChg>
      <pc:sldChg chg="del">
        <pc:chgData name="Agarwal, Rashi SBOBNG-PTIV/LI" userId="fd7d9d23-41e3-4365-a353-79d16ae7ab6e" providerId="ADAL" clId="{14BE9ADB-D887-4137-A531-B7405A96F67F}" dt="2024-09-16T18:48:14.508" v="178" actId="47"/>
        <pc:sldMkLst>
          <pc:docMk/>
          <pc:sldMk cId="660662221" sldId="2147375612"/>
        </pc:sldMkLst>
      </pc:sldChg>
      <pc:sldChg chg="del">
        <pc:chgData name="Agarwal, Rashi SBOBNG-PTIV/LI" userId="fd7d9d23-41e3-4365-a353-79d16ae7ab6e" providerId="ADAL" clId="{14BE9ADB-D887-4137-A531-B7405A96F67F}" dt="2024-09-16T18:48:16.765" v="179" actId="47"/>
        <pc:sldMkLst>
          <pc:docMk/>
          <pc:sldMk cId="1148838763" sldId="2147375613"/>
        </pc:sldMkLst>
      </pc:sldChg>
      <pc:sldChg chg="addSp delSp modSp new mod">
        <pc:chgData name="Agarwal, Rashi SBOBNG-PTIV/LI" userId="fd7d9d23-41e3-4365-a353-79d16ae7ab6e" providerId="ADAL" clId="{14BE9ADB-D887-4137-A531-B7405A96F67F}" dt="2024-09-16T18:51:13.084" v="237" actId="1076"/>
        <pc:sldMkLst>
          <pc:docMk/>
          <pc:sldMk cId="259131893" sldId="2147375614"/>
        </pc:sldMkLst>
        <pc:spChg chg="mod">
          <ac:chgData name="Agarwal, Rashi SBOBNG-PTIV/LI" userId="fd7d9d23-41e3-4365-a353-79d16ae7ab6e" providerId="ADAL" clId="{14BE9ADB-D887-4137-A531-B7405A96F67F}" dt="2024-09-16T18:51:13.084" v="237" actId="1076"/>
          <ac:spMkLst>
            <pc:docMk/>
            <pc:sldMk cId="259131893" sldId="2147375614"/>
            <ac:spMk id="2" creationId="{2236BAEB-D2F7-0BB6-DC02-490FBB1FF4E7}"/>
          </ac:spMkLst>
        </pc:spChg>
        <pc:spChg chg="mod">
          <ac:chgData name="Agarwal, Rashi SBOBNG-PTIV/LI" userId="fd7d9d23-41e3-4365-a353-79d16ae7ab6e" providerId="ADAL" clId="{14BE9ADB-D887-4137-A531-B7405A96F67F}" dt="2024-09-16T18:51:01.454" v="236" actId="1076"/>
          <ac:spMkLst>
            <pc:docMk/>
            <pc:sldMk cId="259131893" sldId="2147375614"/>
            <ac:spMk id="3" creationId="{295E4D5A-8DE9-BE56-2486-66759CB45646}"/>
          </ac:spMkLst>
        </pc:spChg>
        <pc:picChg chg="add del mod">
          <ac:chgData name="Agarwal, Rashi SBOBNG-PTIV/LI" userId="fd7d9d23-41e3-4365-a353-79d16ae7ab6e" providerId="ADAL" clId="{14BE9ADB-D887-4137-A531-B7405A96F67F}" dt="2024-09-16T18:40:41.215" v="109" actId="21"/>
          <ac:picMkLst>
            <pc:docMk/>
            <pc:sldMk cId="259131893" sldId="2147375614"/>
            <ac:picMk id="5" creationId="{9F6C0785-F5CD-E838-B5E4-0A18F2604DB2}"/>
          </ac:picMkLst>
        </pc:picChg>
        <pc:picChg chg="add mod">
          <ac:chgData name="Agarwal, Rashi SBOBNG-PTIV/LI" userId="fd7d9d23-41e3-4365-a353-79d16ae7ab6e" providerId="ADAL" clId="{14BE9ADB-D887-4137-A531-B7405A96F67F}" dt="2024-09-16T18:50:50.623" v="234" actId="1076"/>
          <ac:picMkLst>
            <pc:docMk/>
            <pc:sldMk cId="259131893" sldId="2147375614"/>
            <ac:picMk id="6" creationId="{9F6C0785-F5CD-E838-B5E4-0A18F2604DB2}"/>
          </ac:picMkLst>
        </pc:picChg>
      </pc:sldChg>
      <pc:sldChg chg="addSp delSp modSp new mod">
        <pc:chgData name="Agarwal, Rashi SBOBNG-PTIV/LI" userId="fd7d9d23-41e3-4365-a353-79d16ae7ab6e" providerId="ADAL" clId="{14BE9ADB-D887-4137-A531-B7405A96F67F}" dt="2024-09-16T18:53:33.116" v="328" actId="20577"/>
        <pc:sldMkLst>
          <pc:docMk/>
          <pc:sldMk cId="3939029554" sldId="2147375615"/>
        </pc:sldMkLst>
        <pc:spChg chg="mod">
          <ac:chgData name="Agarwal, Rashi SBOBNG-PTIV/LI" userId="fd7d9d23-41e3-4365-a353-79d16ae7ab6e" providerId="ADAL" clId="{14BE9ADB-D887-4137-A531-B7405A96F67F}" dt="2024-09-16T18:53:33.116" v="328" actId="20577"/>
          <ac:spMkLst>
            <pc:docMk/>
            <pc:sldMk cId="3939029554" sldId="2147375615"/>
            <ac:spMk id="2" creationId="{71C9120D-022A-9B2C-732A-A0274255F8B9}"/>
          </ac:spMkLst>
        </pc:spChg>
        <pc:spChg chg="del">
          <ac:chgData name="Agarwal, Rashi SBOBNG-PTIV/LI" userId="fd7d9d23-41e3-4365-a353-79d16ae7ab6e" providerId="ADAL" clId="{14BE9ADB-D887-4137-A531-B7405A96F67F}" dt="2024-09-16T18:52:52.195" v="285" actId="478"/>
          <ac:spMkLst>
            <pc:docMk/>
            <pc:sldMk cId="3939029554" sldId="2147375615"/>
            <ac:spMk id="3" creationId="{2CB4F118-81E7-507A-9B60-D933C80A2CCD}"/>
          </ac:spMkLst>
        </pc:spChg>
        <pc:picChg chg="add mod">
          <ac:chgData name="Agarwal, Rashi SBOBNG-PTIV/LI" userId="fd7d9d23-41e3-4365-a353-79d16ae7ab6e" providerId="ADAL" clId="{14BE9ADB-D887-4137-A531-B7405A96F67F}" dt="2024-09-16T18:53:06.963" v="290" actId="1076"/>
          <ac:picMkLst>
            <pc:docMk/>
            <pc:sldMk cId="3939029554" sldId="2147375615"/>
            <ac:picMk id="5" creationId="{EB5A3CD2-8C52-90D0-62C0-7056094A3CCA}"/>
          </ac:picMkLst>
        </pc:picChg>
      </pc:sldChg>
      <pc:sldChg chg="addSp delSp modSp new mod">
        <pc:chgData name="Agarwal, Rashi SBOBNG-PTIV/LI" userId="fd7d9d23-41e3-4365-a353-79d16ae7ab6e" providerId="ADAL" clId="{14BE9ADB-D887-4137-A531-B7405A96F67F}" dt="2024-09-16T18:55:20.270" v="408" actId="122"/>
        <pc:sldMkLst>
          <pc:docMk/>
          <pc:sldMk cId="3170632855" sldId="2147375616"/>
        </pc:sldMkLst>
        <pc:spChg chg="mod">
          <ac:chgData name="Agarwal, Rashi SBOBNG-PTIV/LI" userId="fd7d9d23-41e3-4365-a353-79d16ae7ab6e" providerId="ADAL" clId="{14BE9ADB-D887-4137-A531-B7405A96F67F}" dt="2024-09-16T18:55:20.270" v="408" actId="122"/>
          <ac:spMkLst>
            <pc:docMk/>
            <pc:sldMk cId="3170632855" sldId="2147375616"/>
            <ac:spMk id="2" creationId="{1752CA0C-4DB9-99D0-2247-77F1FDAF9999}"/>
          </ac:spMkLst>
        </pc:spChg>
        <pc:spChg chg="del">
          <ac:chgData name="Agarwal, Rashi SBOBNG-PTIV/LI" userId="fd7d9d23-41e3-4365-a353-79d16ae7ab6e" providerId="ADAL" clId="{14BE9ADB-D887-4137-A531-B7405A96F67F}" dt="2024-09-16T18:54:46.189" v="372" actId="478"/>
          <ac:spMkLst>
            <pc:docMk/>
            <pc:sldMk cId="3170632855" sldId="2147375616"/>
            <ac:spMk id="3" creationId="{68C05CE8-CAF7-8E79-A223-A805645B6CDB}"/>
          </ac:spMkLst>
        </pc:spChg>
        <pc:picChg chg="add del mod">
          <ac:chgData name="Agarwal, Rashi SBOBNG-PTIV/LI" userId="fd7d9d23-41e3-4365-a353-79d16ae7ab6e" providerId="ADAL" clId="{14BE9ADB-D887-4137-A531-B7405A96F67F}" dt="2024-09-16T18:44:56.289" v="151" actId="478"/>
          <ac:picMkLst>
            <pc:docMk/>
            <pc:sldMk cId="3170632855" sldId="2147375616"/>
            <ac:picMk id="5" creationId="{069CF650-E9F9-92A6-1DE8-2DDCAC69850F}"/>
          </ac:picMkLst>
        </pc:picChg>
        <pc:picChg chg="add mod">
          <ac:chgData name="Agarwal, Rashi SBOBNG-PTIV/LI" userId="fd7d9d23-41e3-4365-a353-79d16ae7ab6e" providerId="ADAL" clId="{14BE9ADB-D887-4137-A531-B7405A96F67F}" dt="2024-09-16T18:54:55.745" v="376" actId="14100"/>
          <ac:picMkLst>
            <pc:docMk/>
            <pc:sldMk cId="3170632855" sldId="2147375616"/>
            <ac:picMk id="6" creationId="{82727E23-9FFA-E35C-096B-CA11CF57D5CD}"/>
          </ac:picMkLst>
        </pc:picChg>
      </pc:sldChg>
      <pc:sldChg chg="addSp delSp modSp new mod">
        <pc:chgData name="Agarwal, Rashi SBOBNG-PTIV/LI" userId="fd7d9d23-41e3-4365-a353-79d16ae7ab6e" providerId="ADAL" clId="{14BE9ADB-D887-4137-A531-B7405A96F67F}" dt="2024-09-16T18:57:09.879" v="461" actId="20577"/>
        <pc:sldMkLst>
          <pc:docMk/>
          <pc:sldMk cId="2525134252" sldId="2147375617"/>
        </pc:sldMkLst>
        <pc:spChg chg="mod">
          <ac:chgData name="Agarwal, Rashi SBOBNG-PTIV/LI" userId="fd7d9d23-41e3-4365-a353-79d16ae7ab6e" providerId="ADAL" clId="{14BE9ADB-D887-4137-A531-B7405A96F67F}" dt="2024-09-16T18:57:09.879" v="461" actId="20577"/>
          <ac:spMkLst>
            <pc:docMk/>
            <pc:sldMk cId="2525134252" sldId="2147375617"/>
            <ac:spMk id="2" creationId="{5FD59370-6F23-0892-4773-FE7BA5318655}"/>
          </ac:spMkLst>
        </pc:spChg>
        <pc:spChg chg="del">
          <ac:chgData name="Agarwal, Rashi SBOBNG-PTIV/LI" userId="fd7d9d23-41e3-4365-a353-79d16ae7ab6e" providerId="ADAL" clId="{14BE9ADB-D887-4137-A531-B7405A96F67F}" dt="2024-09-16T18:56:07.219" v="417" actId="478"/>
          <ac:spMkLst>
            <pc:docMk/>
            <pc:sldMk cId="2525134252" sldId="2147375617"/>
            <ac:spMk id="3" creationId="{E3FDDD62-0151-E32E-7AF5-69FC7821ABB7}"/>
          </ac:spMkLst>
        </pc:spChg>
        <pc:picChg chg="add mod">
          <ac:chgData name="Agarwal, Rashi SBOBNG-PTIV/LI" userId="fd7d9d23-41e3-4365-a353-79d16ae7ab6e" providerId="ADAL" clId="{14BE9ADB-D887-4137-A531-B7405A96F67F}" dt="2024-09-16T18:56:04.842" v="416" actId="14100"/>
          <ac:picMkLst>
            <pc:docMk/>
            <pc:sldMk cId="2525134252" sldId="2147375617"/>
            <ac:picMk id="5" creationId="{21A65981-C977-353A-0BF9-DC7550EEBEDF}"/>
          </ac:picMkLst>
        </pc:picChg>
      </pc:sldChg>
      <pc:sldChg chg="addSp delSp modSp new mod">
        <pc:chgData name="Agarwal, Rashi SBOBNG-PTIV/LI" userId="fd7d9d23-41e3-4365-a353-79d16ae7ab6e" providerId="ADAL" clId="{14BE9ADB-D887-4137-A531-B7405A96F67F}" dt="2024-09-16T18:52:45.345" v="284" actId="20577"/>
        <pc:sldMkLst>
          <pc:docMk/>
          <pc:sldMk cId="3304310688" sldId="2147375618"/>
        </pc:sldMkLst>
        <pc:spChg chg="mod">
          <ac:chgData name="Agarwal, Rashi SBOBNG-PTIV/LI" userId="fd7d9d23-41e3-4365-a353-79d16ae7ab6e" providerId="ADAL" clId="{14BE9ADB-D887-4137-A531-B7405A96F67F}" dt="2024-09-16T18:52:45.345" v="284" actId="20577"/>
          <ac:spMkLst>
            <pc:docMk/>
            <pc:sldMk cId="3304310688" sldId="2147375618"/>
            <ac:spMk id="2" creationId="{4B36F80A-BE0D-723A-DFD4-074B75909D3F}"/>
          </ac:spMkLst>
        </pc:spChg>
        <pc:spChg chg="del mod">
          <ac:chgData name="Agarwal, Rashi SBOBNG-PTIV/LI" userId="fd7d9d23-41e3-4365-a353-79d16ae7ab6e" providerId="ADAL" clId="{14BE9ADB-D887-4137-A531-B7405A96F67F}" dt="2024-09-16T18:51:44.099" v="241" actId="478"/>
          <ac:spMkLst>
            <pc:docMk/>
            <pc:sldMk cId="3304310688" sldId="2147375618"/>
            <ac:spMk id="3" creationId="{4DDC127E-327E-85CB-DEDB-39EE63104208}"/>
          </ac:spMkLst>
        </pc:spChg>
        <pc:picChg chg="add mod">
          <ac:chgData name="Agarwal, Rashi SBOBNG-PTIV/LI" userId="fd7d9d23-41e3-4365-a353-79d16ae7ab6e" providerId="ADAL" clId="{14BE9ADB-D887-4137-A531-B7405A96F67F}" dt="2024-09-16T18:51:54.121" v="244" actId="1076"/>
          <ac:picMkLst>
            <pc:docMk/>
            <pc:sldMk cId="3304310688" sldId="2147375618"/>
            <ac:picMk id="5" creationId="{A821BE9D-C176-98DB-A65F-3D55BD1B8ADE}"/>
          </ac:picMkLst>
        </pc:picChg>
      </pc:sldChg>
      <pc:sldChg chg="addSp delSp modSp new mod ord">
        <pc:chgData name="Agarwal, Rashi SBOBNG-PTIV/LI" userId="fd7d9d23-41e3-4365-a353-79d16ae7ab6e" providerId="ADAL" clId="{14BE9ADB-D887-4137-A531-B7405A96F67F}" dt="2024-09-16T18:54:32.197" v="369" actId="1076"/>
        <pc:sldMkLst>
          <pc:docMk/>
          <pc:sldMk cId="548078161" sldId="2147375619"/>
        </pc:sldMkLst>
        <pc:spChg chg="mod">
          <ac:chgData name="Agarwal, Rashi SBOBNG-PTIV/LI" userId="fd7d9d23-41e3-4365-a353-79d16ae7ab6e" providerId="ADAL" clId="{14BE9ADB-D887-4137-A531-B7405A96F67F}" dt="2024-09-16T18:54:32.197" v="369" actId="1076"/>
          <ac:spMkLst>
            <pc:docMk/>
            <pc:sldMk cId="548078161" sldId="2147375619"/>
            <ac:spMk id="2" creationId="{6C7177CE-A606-1373-E53B-B6DB98AE6999}"/>
          </ac:spMkLst>
        </pc:spChg>
        <pc:spChg chg="del">
          <ac:chgData name="Agarwal, Rashi SBOBNG-PTIV/LI" userId="fd7d9d23-41e3-4365-a353-79d16ae7ab6e" providerId="ADAL" clId="{14BE9ADB-D887-4137-A531-B7405A96F67F}" dt="2024-09-16T18:53:53.448" v="331" actId="478"/>
          <ac:spMkLst>
            <pc:docMk/>
            <pc:sldMk cId="548078161" sldId="2147375619"/>
            <ac:spMk id="3" creationId="{E92615FE-7A0E-235A-809E-3A8AD0E48C46}"/>
          </ac:spMkLst>
        </pc:spChg>
        <pc:picChg chg="add mod">
          <ac:chgData name="Agarwal, Rashi SBOBNG-PTIV/LI" userId="fd7d9d23-41e3-4365-a353-79d16ae7ab6e" providerId="ADAL" clId="{14BE9ADB-D887-4137-A531-B7405A96F67F}" dt="2024-09-16T18:54:04.766" v="335" actId="1076"/>
          <ac:picMkLst>
            <pc:docMk/>
            <pc:sldMk cId="548078161" sldId="2147375619"/>
            <ac:picMk id="5" creationId="{940876B4-B9D4-2B40-DF2D-F19EC39E20C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Rashi Agarw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4-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52CA0C-4DB9-99D0-2247-77F1FDAF9999}"/>
              </a:ext>
            </a:extLst>
          </p:cNvPr>
          <p:cNvSpPr>
            <a:spLocks noGrp="1"/>
          </p:cNvSpPr>
          <p:nvPr>
            <p:ph type="body" sz="quarter" idx="14"/>
          </p:nvPr>
        </p:nvSpPr>
        <p:spPr>
          <a:xfrm>
            <a:off x="369322" y="589280"/>
            <a:ext cx="11260279" cy="602039"/>
          </a:xfrm>
        </p:spPr>
        <p:txBody>
          <a:bodyPr/>
          <a:lstStyle/>
          <a:p>
            <a:pPr algn="ctr"/>
            <a:r>
              <a:rPr lang="en-GB" dirty="0"/>
              <a:t>Image pushed into </a:t>
            </a:r>
            <a:r>
              <a:rPr lang="en-GB" dirty="0" err="1"/>
              <a:t>DockerHub</a:t>
            </a:r>
            <a:endParaRPr lang="en-GB" dirty="0"/>
          </a:p>
        </p:txBody>
      </p:sp>
      <p:sp>
        <p:nvSpPr>
          <p:cNvPr id="4" name="Slide Number Placeholder 3">
            <a:extLst>
              <a:ext uri="{FF2B5EF4-FFF2-40B4-BE49-F238E27FC236}">
                <a16:creationId xmlns:a16="http://schemas.microsoft.com/office/drawing/2014/main" id="{EDA43F88-3AA3-EC6B-1995-1A25F02EA84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6" name="Picture 5">
            <a:extLst>
              <a:ext uri="{FF2B5EF4-FFF2-40B4-BE49-F238E27FC236}">
                <a16:creationId xmlns:a16="http://schemas.microsoft.com/office/drawing/2014/main" id="{82727E23-9FFA-E35C-096B-CA11CF57D5CD}"/>
              </a:ext>
            </a:extLst>
          </p:cNvPr>
          <p:cNvPicPr>
            <a:picLocks noChangeAspect="1"/>
          </p:cNvPicPr>
          <p:nvPr/>
        </p:nvPicPr>
        <p:blipFill>
          <a:blip r:embed="rId2"/>
          <a:stretch>
            <a:fillRect/>
          </a:stretch>
        </p:blipFill>
        <p:spPr>
          <a:xfrm>
            <a:off x="668065" y="1191319"/>
            <a:ext cx="10690815" cy="5630779"/>
          </a:xfrm>
          <a:prstGeom prst="rect">
            <a:avLst/>
          </a:prstGeom>
        </p:spPr>
      </p:pic>
    </p:spTree>
    <p:extLst>
      <p:ext uri="{BB962C8B-B14F-4D97-AF65-F5344CB8AC3E}">
        <p14:creationId xmlns:p14="http://schemas.microsoft.com/office/powerpoint/2010/main" val="3170632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41884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Please share (in your own words) details of the learning.</a:t>
            </a:r>
          </a:p>
          <a:p>
            <a:pPr algn="just"/>
            <a:r>
              <a:rPr lang="en-US" sz="2000" dirty="0"/>
              <a:t>Prometheus</a:t>
            </a:r>
          </a:p>
          <a:p>
            <a:pPr algn="just"/>
            <a:r>
              <a:rPr lang="en-GB" sz="2000" dirty="0"/>
              <a:t>Docker Image Management: I learned how to pull a Docker image from Docker Hub using the docker pull command.</a:t>
            </a:r>
          </a:p>
          <a:p>
            <a:pPr algn="just"/>
            <a:r>
              <a:rPr lang="en-GB" sz="2000" dirty="0"/>
              <a:t>Running Containers: I saw how to run a Docker container with the docker run command, making Prometheus accessible on a specified port.</a:t>
            </a:r>
          </a:p>
          <a:p>
            <a:pPr algn="just"/>
            <a:r>
              <a:rPr lang="en-GB" sz="2000" dirty="0"/>
              <a:t>Port Mapping: I understood how to map ports from the host machine to the Docker container, allowing me to access Prometheus via http://localhost:9090.</a:t>
            </a:r>
          </a:p>
          <a:p>
            <a:pPr algn="just"/>
            <a:r>
              <a:rPr lang="en-GB" sz="2000" dirty="0"/>
              <a:t>Custom Configuration: I learned how to mount a custom configuration file into the Docker container using the -v option.</a:t>
            </a:r>
            <a:endParaRPr lang="en-US" sz="1800" dirty="0"/>
          </a:p>
        </p:txBody>
      </p:sp>
    </p:spTree>
    <p:extLst>
      <p:ext uri="{BB962C8B-B14F-4D97-AF65-F5344CB8AC3E}">
        <p14:creationId xmlns:p14="http://schemas.microsoft.com/office/powerpoint/2010/main" val="32337475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D59370-6F23-0892-4773-FE7BA5318655}"/>
              </a:ext>
            </a:extLst>
          </p:cNvPr>
          <p:cNvSpPr>
            <a:spLocks noGrp="1"/>
          </p:cNvSpPr>
          <p:nvPr>
            <p:ph type="body" sz="quarter" idx="14"/>
          </p:nvPr>
        </p:nvSpPr>
        <p:spPr>
          <a:xfrm>
            <a:off x="483133" y="501950"/>
            <a:ext cx="11260279" cy="602039"/>
          </a:xfrm>
        </p:spPr>
        <p:txBody>
          <a:bodyPr/>
          <a:lstStyle/>
          <a:p>
            <a:pPr algn="ctr"/>
            <a:r>
              <a:rPr lang="en-GB" dirty="0"/>
              <a:t>Executing Prometheus on Browser</a:t>
            </a:r>
          </a:p>
        </p:txBody>
      </p:sp>
      <p:sp>
        <p:nvSpPr>
          <p:cNvPr id="4" name="Slide Number Placeholder 3">
            <a:extLst>
              <a:ext uri="{FF2B5EF4-FFF2-40B4-BE49-F238E27FC236}">
                <a16:creationId xmlns:a16="http://schemas.microsoft.com/office/drawing/2014/main" id="{EF0F3276-78CF-7301-8FF6-5CABBD3E4F87}"/>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5" name="Picture 4">
            <a:extLst>
              <a:ext uri="{FF2B5EF4-FFF2-40B4-BE49-F238E27FC236}">
                <a16:creationId xmlns:a16="http://schemas.microsoft.com/office/drawing/2014/main" id="{21A65981-C977-353A-0BF9-DC7550EEBEDF}"/>
              </a:ext>
            </a:extLst>
          </p:cNvPr>
          <p:cNvPicPr>
            <a:picLocks noChangeAspect="1"/>
          </p:cNvPicPr>
          <p:nvPr/>
        </p:nvPicPr>
        <p:blipFill>
          <a:blip r:embed="rId2"/>
          <a:stretch>
            <a:fillRect/>
          </a:stretch>
        </p:blipFill>
        <p:spPr>
          <a:xfrm>
            <a:off x="1148079" y="1513840"/>
            <a:ext cx="9737001" cy="4874333"/>
          </a:xfrm>
          <a:prstGeom prst="rect">
            <a:avLst/>
          </a:prstGeom>
        </p:spPr>
      </p:pic>
    </p:spTree>
    <p:extLst>
      <p:ext uri="{BB962C8B-B14F-4D97-AF65-F5344CB8AC3E}">
        <p14:creationId xmlns:p14="http://schemas.microsoft.com/office/powerpoint/2010/main" val="2525134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dirty="0"/>
              <a:t>“Do the best you can until you know better. Then when you know better, do better.” </a:t>
            </a:r>
          </a:p>
          <a:p>
            <a:pPr marL="0" indent="0" algn="ctr">
              <a:buFont typeface="Arial" panose="020B0604020202020204" pitchFamily="34" charset="0"/>
              <a:buNone/>
            </a:pPr>
            <a:r>
              <a:rPr lang="en-GB" sz="2000" dirty="0"/>
              <a:t>- Maya Angelou</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8" name="Picture 7" descr="A child with his hands on his head&#10;&#10;Description automatically generated">
            <a:extLst>
              <a:ext uri="{FF2B5EF4-FFF2-40B4-BE49-F238E27FC236}">
                <a16:creationId xmlns:a16="http://schemas.microsoft.com/office/drawing/2014/main" id="{95BB9A4B-29CD-3D02-992E-5D4BD813CF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0800" y="1831738"/>
            <a:ext cx="5349005" cy="41529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1205458"/>
          </a:xfrm>
        </p:spPr>
        <p:txBody>
          <a:bodyPr/>
          <a:lstStyle/>
          <a:p>
            <a:r>
              <a:rPr lang="en-US" sz="3200" dirty="0"/>
              <a:t>My learnings from this week! – Advanced Technical skills</a:t>
            </a:r>
          </a:p>
          <a:p>
            <a:r>
              <a:rPr lang="en-US" sz="3200" dirty="0"/>
              <a:t>WEEK - 3</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0995828" cy="434730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Please share (in your own words) details of the learning.</a:t>
            </a:r>
          </a:p>
          <a:p>
            <a:pPr algn="just"/>
            <a:r>
              <a:rPr lang="en-US" sz="2000" dirty="0"/>
              <a:t>Creating VM on Azure</a:t>
            </a:r>
          </a:p>
          <a:p>
            <a:pPr algn="just"/>
            <a:r>
              <a:rPr lang="en-GB" sz="2000" dirty="0"/>
              <a:t>Azure Virtual Machines (VMs) are a versatile and scalable computing resource offered by Microsoft Azure. They allow you to run applications and workloads in the cloud without the need to invest in and maintain physical hardware. Here are some key features and benefits:</a:t>
            </a:r>
          </a:p>
          <a:p>
            <a:pPr algn="just"/>
            <a:r>
              <a:rPr lang="en-GB" sz="2000" dirty="0"/>
              <a:t>Flexibility: You can choose from a wide range of VM sizes and configurations to match your specific needs, whether you’re running a small application or a large-scale enterprise solution1.</a:t>
            </a:r>
          </a:p>
          <a:p>
            <a:pPr algn="just"/>
            <a:r>
              <a:rPr lang="en-GB" sz="2000" dirty="0"/>
              <a:t>Cost Efficiency: Azure offers various pricing options, including pay-as-you-go, reserved instances, and spot VMs, which can help you optimize costs1.</a:t>
            </a:r>
          </a:p>
          <a:p>
            <a:pPr algn="just"/>
            <a:r>
              <a:rPr lang="en-GB" sz="2000" dirty="0"/>
              <a:t>Scalability: With Azure Virtual Machine Scale Sets, you can automatically scale your VMs up or down based on demand</a:t>
            </a:r>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36BAEB-D2F7-0BB6-DC02-490FBB1FF4E7}"/>
              </a:ext>
            </a:extLst>
          </p:cNvPr>
          <p:cNvSpPr>
            <a:spLocks noGrp="1"/>
          </p:cNvSpPr>
          <p:nvPr>
            <p:ph type="body" sz="quarter" idx="14"/>
          </p:nvPr>
        </p:nvSpPr>
        <p:spPr>
          <a:xfrm>
            <a:off x="166120" y="679168"/>
            <a:ext cx="11260279" cy="602039"/>
          </a:xfrm>
        </p:spPr>
        <p:txBody>
          <a:bodyPr/>
          <a:lstStyle/>
          <a:p>
            <a:pPr algn="ctr"/>
            <a:r>
              <a:rPr lang="en-GB" dirty="0"/>
              <a:t>Deploying VM on Azure</a:t>
            </a:r>
          </a:p>
        </p:txBody>
      </p:sp>
      <p:sp>
        <p:nvSpPr>
          <p:cNvPr id="3" name="Title 2">
            <a:extLst>
              <a:ext uri="{FF2B5EF4-FFF2-40B4-BE49-F238E27FC236}">
                <a16:creationId xmlns:a16="http://schemas.microsoft.com/office/drawing/2014/main" id="{295E4D5A-8DE9-BE56-2486-66759CB45646}"/>
              </a:ext>
            </a:extLst>
          </p:cNvPr>
          <p:cNvSpPr>
            <a:spLocks noGrp="1"/>
          </p:cNvSpPr>
          <p:nvPr>
            <p:ph type="title"/>
          </p:nvPr>
        </p:nvSpPr>
        <p:spPr>
          <a:xfrm>
            <a:off x="-674370" y="488862"/>
            <a:ext cx="11260278" cy="713216"/>
          </a:xfrm>
        </p:spPr>
        <p:txBody>
          <a:bodyPr/>
          <a:lstStyle/>
          <a:p>
            <a:r>
              <a:rPr lang="en-GB" dirty="0"/>
              <a:t>                                        </a:t>
            </a:r>
          </a:p>
        </p:txBody>
      </p:sp>
      <p:sp>
        <p:nvSpPr>
          <p:cNvPr id="4" name="Slide Number Placeholder 3">
            <a:extLst>
              <a:ext uri="{FF2B5EF4-FFF2-40B4-BE49-F238E27FC236}">
                <a16:creationId xmlns:a16="http://schemas.microsoft.com/office/drawing/2014/main" id="{C9DED232-D878-CDC2-9DE8-D8598E3B0165}"/>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6" name="Picture 5">
            <a:extLst>
              <a:ext uri="{FF2B5EF4-FFF2-40B4-BE49-F238E27FC236}">
                <a16:creationId xmlns:a16="http://schemas.microsoft.com/office/drawing/2014/main" id="{9F6C0785-F5CD-E838-B5E4-0A18F2604DB2}"/>
              </a:ext>
            </a:extLst>
          </p:cNvPr>
          <p:cNvPicPr>
            <a:picLocks noChangeAspect="1"/>
          </p:cNvPicPr>
          <p:nvPr/>
        </p:nvPicPr>
        <p:blipFill>
          <a:blip r:embed="rId2"/>
          <a:stretch>
            <a:fillRect/>
          </a:stretch>
        </p:blipFill>
        <p:spPr>
          <a:xfrm>
            <a:off x="1136029" y="1360337"/>
            <a:ext cx="9320463" cy="4514883"/>
          </a:xfrm>
          <a:prstGeom prst="rect">
            <a:avLst/>
          </a:prstGeom>
        </p:spPr>
      </p:pic>
    </p:spTree>
    <p:extLst>
      <p:ext uri="{BB962C8B-B14F-4D97-AF65-F5344CB8AC3E}">
        <p14:creationId xmlns:p14="http://schemas.microsoft.com/office/powerpoint/2010/main" val="259131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059995" cy="439756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Please share (in your own words) details of the learning.</a:t>
            </a:r>
          </a:p>
          <a:p>
            <a:pPr algn="just"/>
            <a:r>
              <a:rPr lang="en-GB" sz="2000" dirty="0"/>
              <a:t>Docker and Containers</a:t>
            </a:r>
          </a:p>
          <a:p>
            <a:pPr algn="just"/>
            <a:r>
              <a:rPr lang="en-GB" sz="2000" dirty="0"/>
              <a:t>Understanding Docker Basics: I learned how to create a </a:t>
            </a:r>
            <a:r>
              <a:rPr lang="en-GB" sz="2000" dirty="0" err="1"/>
              <a:t>Dockerfile</a:t>
            </a:r>
            <a:r>
              <a:rPr lang="en-GB" sz="2000" dirty="0"/>
              <a:t>, which is a script containing instructions on how to build a Docker image.</a:t>
            </a:r>
          </a:p>
          <a:p>
            <a:pPr algn="just"/>
            <a:r>
              <a:rPr lang="en-GB" sz="2000" dirty="0"/>
              <a:t>Building a Docker Image: I saw how to use the docker build command to create a Docker image from a </a:t>
            </a:r>
            <a:r>
              <a:rPr lang="en-GB" sz="2000" dirty="0" err="1"/>
              <a:t>Dockerfile</a:t>
            </a:r>
            <a:r>
              <a:rPr lang="en-GB" sz="2000" dirty="0"/>
              <a:t>.</a:t>
            </a:r>
          </a:p>
          <a:p>
            <a:pPr algn="just"/>
            <a:r>
              <a:rPr lang="en-GB" sz="2000" dirty="0"/>
              <a:t>Running a Docker Container: I learned how to run a Docker container using the docker run command, making my NGINX server accessible on a specified port.</a:t>
            </a:r>
          </a:p>
          <a:p>
            <a:pPr algn="just"/>
            <a:r>
              <a:rPr lang="en-GB" sz="2000" dirty="0"/>
              <a:t>Custom Configuration: I created a custom NGINX configuration file to tailor the server’s </a:t>
            </a:r>
            <a:r>
              <a:rPr lang="en-GB" sz="2000" dirty="0" err="1"/>
              <a:t>behavior</a:t>
            </a:r>
            <a:r>
              <a:rPr lang="en-GB" sz="2000" dirty="0"/>
              <a:t> to my needs.</a:t>
            </a:r>
          </a:p>
          <a:p>
            <a:pPr algn="just"/>
            <a:r>
              <a:rPr lang="en-GB" sz="2000" dirty="0"/>
              <a:t>Port Mapping: I understood how to map ports from the host machine to the Docker container, allowing external access to the NGINX server.</a:t>
            </a:r>
          </a:p>
          <a:p>
            <a:pPr algn="just"/>
            <a:endParaRPr lang="en-GB" sz="2000" dirty="0"/>
          </a:p>
        </p:txBody>
      </p:sp>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36F80A-BE0D-723A-DFD4-074B75909D3F}"/>
              </a:ext>
            </a:extLst>
          </p:cNvPr>
          <p:cNvSpPr>
            <a:spLocks noGrp="1"/>
          </p:cNvSpPr>
          <p:nvPr>
            <p:ph type="body" sz="quarter" idx="14"/>
          </p:nvPr>
        </p:nvSpPr>
        <p:spPr>
          <a:xfrm>
            <a:off x="-199638" y="946523"/>
            <a:ext cx="11260279" cy="602039"/>
          </a:xfrm>
        </p:spPr>
        <p:txBody>
          <a:bodyPr/>
          <a:lstStyle/>
          <a:p>
            <a:pPr algn="ctr"/>
            <a:r>
              <a:rPr lang="en-GB" dirty="0"/>
              <a:t>Building Nginx image on SSH</a:t>
            </a:r>
          </a:p>
        </p:txBody>
      </p:sp>
      <p:sp>
        <p:nvSpPr>
          <p:cNvPr id="4" name="Slide Number Placeholder 3">
            <a:extLst>
              <a:ext uri="{FF2B5EF4-FFF2-40B4-BE49-F238E27FC236}">
                <a16:creationId xmlns:a16="http://schemas.microsoft.com/office/drawing/2014/main" id="{78026195-5160-408E-1357-2344692C599F}"/>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5" name="Picture 4" descr="A screenshot of a computer&#10;&#10;Description automatically generated">
            <a:extLst>
              <a:ext uri="{FF2B5EF4-FFF2-40B4-BE49-F238E27FC236}">
                <a16:creationId xmlns:a16="http://schemas.microsoft.com/office/drawing/2014/main" id="{A821BE9D-C176-98DB-A65F-3D55BD1B8ADE}"/>
              </a:ext>
            </a:extLst>
          </p:cNvPr>
          <p:cNvPicPr>
            <a:picLocks noChangeAspect="1"/>
          </p:cNvPicPr>
          <p:nvPr/>
        </p:nvPicPr>
        <p:blipFill>
          <a:blip r:embed="rId2"/>
          <a:stretch>
            <a:fillRect/>
          </a:stretch>
        </p:blipFill>
        <p:spPr>
          <a:xfrm>
            <a:off x="759235" y="1664102"/>
            <a:ext cx="10668906" cy="5083865"/>
          </a:xfrm>
          <a:prstGeom prst="rect">
            <a:avLst/>
          </a:prstGeom>
        </p:spPr>
      </p:pic>
    </p:spTree>
    <p:extLst>
      <p:ext uri="{BB962C8B-B14F-4D97-AF65-F5344CB8AC3E}">
        <p14:creationId xmlns:p14="http://schemas.microsoft.com/office/powerpoint/2010/main" val="3304310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C9120D-022A-9B2C-732A-A0274255F8B9}"/>
              </a:ext>
            </a:extLst>
          </p:cNvPr>
          <p:cNvSpPr>
            <a:spLocks noGrp="1"/>
          </p:cNvSpPr>
          <p:nvPr>
            <p:ph type="body" sz="quarter" idx="14"/>
          </p:nvPr>
        </p:nvSpPr>
        <p:spPr>
          <a:xfrm>
            <a:off x="301801" y="651883"/>
            <a:ext cx="11260279" cy="602039"/>
          </a:xfrm>
        </p:spPr>
        <p:txBody>
          <a:bodyPr/>
          <a:lstStyle/>
          <a:p>
            <a:pPr algn="ctr"/>
            <a:r>
              <a:rPr lang="en-GB" dirty="0"/>
              <a:t>Executing Nginx container</a:t>
            </a:r>
          </a:p>
        </p:txBody>
      </p:sp>
      <p:sp>
        <p:nvSpPr>
          <p:cNvPr id="4" name="Slide Number Placeholder 3">
            <a:extLst>
              <a:ext uri="{FF2B5EF4-FFF2-40B4-BE49-F238E27FC236}">
                <a16:creationId xmlns:a16="http://schemas.microsoft.com/office/drawing/2014/main" id="{06D7CA0A-7D82-B9BD-EDA8-739297DE2822}"/>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5" name="Picture 4">
            <a:extLst>
              <a:ext uri="{FF2B5EF4-FFF2-40B4-BE49-F238E27FC236}">
                <a16:creationId xmlns:a16="http://schemas.microsoft.com/office/drawing/2014/main" id="{EB5A3CD2-8C52-90D0-62C0-7056094A3CCA}"/>
              </a:ext>
            </a:extLst>
          </p:cNvPr>
          <p:cNvPicPr>
            <a:picLocks noChangeAspect="1"/>
          </p:cNvPicPr>
          <p:nvPr/>
        </p:nvPicPr>
        <p:blipFill>
          <a:blip r:embed="rId2"/>
          <a:stretch>
            <a:fillRect/>
          </a:stretch>
        </p:blipFill>
        <p:spPr>
          <a:xfrm>
            <a:off x="736507" y="1470422"/>
            <a:ext cx="10718986" cy="5049151"/>
          </a:xfrm>
          <a:prstGeom prst="rect">
            <a:avLst/>
          </a:prstGeom>
        </p:spPr>
      </p:pic>
    </p:spTree>
    <p:extLst>
      <p:ext uri="{BB962C8B-B14F-4D97-AF65-F5344CB8AC3E}">
        <p14:creationId xmlns:p14="http://schemas.microsoft.com/office/powerpoint/2010/main" val="3939029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7177CE-A606-1373-E53B-B6DB98AE6999}"/>
              </a:ext>
            </a:extLst>
          </p:cNvPr>
          <p:cNvSpPr>
            <a:spLocks noGrp="1"/>
          </p:cNvSpPr>
          <p:nvPr>
            <p:ph type="body" sz="quarter" idx="14"/>
          </p:nvPr>
        </p:nvSpPr>
        <p:spPr>
          <a:xfrm>
            <a:off x="0" y="697864"/>
            <a:ext cx="11260279" cy="602039"/>
          </a:xfrm>
        </p:spPr>
        <p:txBody>
          <a:bodyPr/>
          <a:lstStyle/>
          <a:p>
            <a:pPr algn="ctr"/>
            <a:r>
              <a:rPr lang="en-GB" dirty="0"/>
              <a:t>Pushing Nginx image in </a:t>
            </a:r>
            <a:r>
              <a:rPr lang="en-GB" dirty="0" err="1"/>
              <a:t>DockerHub</a:t>
            </a:r>
            <a:endParaRPr lang="en-GB" dirty="0"/>
          </a:p>
        </p:txBody>
      </p:sp>
      <p:sp>
        <p:nvSpPr>
          <p:cNvPr id="4" name="Slide Number Placeholder 3">
            <a:extLst>
              <a:ext uri="{FF2B5EF4-FFF2-40B4-BE49-F238E27FC236}">
                <a16:creationId xmlns:a16="http://schemas.microsoft.com/office/drawing/2014/main" id="{C5037364-A4BD-48FA-DDD1-42FAA95DE2E0}"/>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5" name="Picture 4">
            <a:extLst>
              <a:ext uri="{FF2B5EF4-FFF2-40B4-BE49-F238E27FC236}">
                <a16:creationId xmlns:a16="http://schemas.microsoft.com/office/drawing/2014/main" id="{940876B4-B9D4-2B40-DF2D-F19EC39E20C3}"/>
              </a:ext>
            </a:extLst>
          </p:cNvPr>
          <p:cNvPicPr>
            <a:picLocks noChangeAspect="1"/>
          </p:cNvPicPr>
          <p:nvPr/>
        </p:nvPicPr>
        <p:blipFill>
          <a:blip r:embed="rId2"/>
          <a:stretch>
            <a:fillRect/>
          </a:stretch>
        </p:blipFill>
        <p:spPr>
          <a:xfrm>
            <a:off x="221337" y="1431303"/>
            <a:ext cx="11749324" cy="5088270"/>
          </a:xfrm>
          <a:prstGeom prst="rect">
            <a:avLst/>
          </a:prstGeom>
        </p:spPr>
      </p:pic>
    </p:spTree>
    <p:extLst>
      <p:ext uri="{BB962C8B-B14F-4D97-AF65-F5344CB8AC3E}">
        <p14:creationId xmlns:p14="http://schemas.microsoft.com/office/powerpoint/2010/main" val="54807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46</TotalTime>
  <Words>510</Words>
  <Application>Microsoft Office PowerPoint</Application>
  <PresentationFormat>Widescreen</PresentationFormat>
  <Paragraphs>49</Paragraphs>
  <Slides>1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Calibri</vt:lpstr>
      <vt:lpstr>Office Theme</vt:lpstr>
      <vt:lpstr>think-cell Slide</vt:lpstr>
      <vt:lpstr>PowerPoint Presentation</vt:lpstr>
      <vt:lpstr>About Me</vt:lpstr>
      <vt:lpstr>PowerPoint Presentation</vt:lpstr>
      <vt:lpstr>Learning 1 | My takeaways</vt:lpstr>
      <vt:lpstr>                                        </vt:lpstr>
      <vt:lpstr>Learning 2 | My takeaways</vt:lpstr>
      <vt:lpstr>PowerPoint Presentation</vt:lpstr>
      <vt:lpstr>PowerPoint Presentation</vt:lpstr>
      <vt:lpstr>PowerPoint Presentation</vt:lpstr>
      <vt:lpstr>PowerPoint Presentation</vt:lpstr>
      <vt:lpstr>Learning 3 | M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arwal, Rashi SBOBNG-PTIV/LI</cp:lastModifiedBy>
  <cp:revision>502</cp:revision>
  <dcterms:created xsi:type="dcterms:W3CDTF">2022-01-18T12:35:56Z</dcterms:created>
  <dcterms:modified xsi:type="dcterms:W3CDTF">2024-09-16T18:5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